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703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11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7F7"/>
    <a:srgbClr val="1C1C1C"/>
    <a:srgbClr val="5F5F5F"/>
    <a:srgbClr val="DA0110"/>
    <a:srgbClr val="F2F2F2"/>
    <a:srgbClr val="FE2635"/>
    <a:srgbClr val="FFFFFF"/>
    <a:srgbClr val="1BA5D4"/>
    <a:srgbClr val="47AB2C"/>
    <a:srgbClr val="3C4F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21" autoAdjust="0"/>
    <p:restoredTop sz="96081" autoAdjust="0"/>
  </p:normalViewPr>
  <p:slideViewPr>
    <p:cSldViewPr snapToGrid="0">
      <p:cViewPr varScale="1">
        <p:scale>
          <a:sx n="98" d="100"/>
          <a:sy n="98" d="100"/>
        </p:scale>
        <p:origin x="822" y="84"/>
      </p:cViewPr>
      <p:guideLst>
        <p:guide orient="horz" pos="191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1/2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712FC-90FF-4B94-9263-B812CCB51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C036D0-E6B5-434C-940A-96676C27C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BDD0-5377-499C-A75C-DCB6DEF03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11BD4D-1490-4F18-8CD7-D2ADC24C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19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093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09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3" r:id="rId2"/>
    <p:sldLayoutId id="2147483734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A24A5-4912-4D47-AF97-B45954D09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8FD2DF7-FA79-4F14-90EB-5FEA81572ACB}"/>
              </a:ext>
            </a:extLst>
          </p:cNvPr>
          <p:cNvGrpSpPr/>
          <p:nvPr/>
        </p:nvGrpSpPr>
        <p:grpSpPr>
          <a:xfrm>
            <a:off x="3535115" y="1861858"/>
            <a:ext cx="2004583" cy="3479934"/>
            <a:chOff x="3225491" y="1694590"/>
            <a:chExt cx="2004583" cy="347993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C1220DD-B552-4C42-9640-B9C62BA734D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67451" y="1739257"/>
              <a:ext cx="1917956" cy="3390600"/>
              <a:chOff x="3529013" y="1446213"/>
              <a:chExt cx="2249487" cy="3976688"/>
            </a:xfrm>
          </p:grpSpPr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172C2404-145F-4F8C-B4D3-DCAF954D6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9013" y="1446213"/>
                <a:ext cx="2249487" cy="1112838"/>
              </a:xfrm>
              <a:custGeom>
                <a:avLst/>
                <a:gdLst>
                  <a:gd name="T0" fmla="*/ 0 w 1417"/>
                  <a:gd name="T1" fmla="*/ 1112838 h 701"/>
                  <a:gd name="T2" fmla="*/ 1335087 w 1417"/>
                  <a:gd name="T3" fmla="*/ 0 h 701"/>
                  <a:gd name="T4" fmla="*/ 2249487 w 1417"/>
                  <a:gd name="T5" fmla="*/ 0 h 70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17" h="701">
                    <a:moveTo>
                      <a:pt x="0" y="701"/>
                    </a:moveTo>
                    <a:lnTo>
                      <a:pt x="841" y="0"/>
                    </a:lnTo>
                    <a:lnTo>
                      <a:pt x="1417" y="0"/>
                    </a:lnTo>
                  </a:path>
                </a:pathLst>
              </a:custGeom>
              <a:ln w="12700">
                <a:solidFill>
                  <a:schemeClr val="bg1">
                    <a:lumMod val="65000"/>
                  </a:schemeClr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EA94C417-7668-40F9-B1BA-6324CD8BB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2188" y="4310063"/>
                <a:ext cx="2246312" cy="1112838"/>
              </a:xfrm>
              <a:custGeom>
                <a:avLst/>
                <a:gdLst>
                  <a:gd name="T0" fmla="*/ 0 w 1415"/>
                  <a:gd name="T1" fmla="*/ 0 h 701"/>
                  <a:gd name="T2" fmla="*/ 1331912 w 1415"/>
                  <a:gd name="T3" fmla="*/ 1112838 h 701"/>
                  <a:gd name="T4" fmla="*/ 2246312 w 1415"/>
                  <a:gd name="T5" fmla="*/ 1112838 h 70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15" h="701">
                    <a:moveTo>
                      <a:pt x="0" y="0"/>
                    </a:moveTo>
                    <a:lnTo>
                      <a:pt x="839" y="701"/>
                    </a:lnTo>
                    <a:lnTo>
                      <a:pt x="1415" y="701"/>
                    </a:lnTo>
                  </a:path>
                </a:pathLst>
              </a:custGeom>
              <a:ln w="12700">
                <a:solidFill>
                  <a:schemeClr val="bg1">
                    <a:lumMod val="65000"/>
                  </a:schemeClr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DAF6114E-F66D-45AD-BE03-E57F58BE2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5713" y="2771775"/>
                <a:ext cx="1982787" cy="296863"/>
              </a:xfrm>
              <a:custGeom>
                <a:avLst/>
                <a:gdLst>
                  <a:gd name="T0" fmla="*/ 0 w 1249"/>
                  <a:gd name="T1" fmla="*/ 296863 h 187"/>
                  <a:gd name="T2" fmla="*/ 1068387 w 1249"/>
                  <a:gd name="T3" fmla="*/ 0 h 187"/>
                  <a:gd name="T4" fmla="*/ 1982787 w 1249"/>
                  <a:gd name="T5" fmla="*/ 0 h 187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249" h="187">
                    <a:moveTo>
                      <a:pt x="0" y="187"/>
                    </a:moveTo>
                    <a:lnTo>
                      <a:pt x="673" y="0"/>
                    </a:lnTo>
                    <a:lnTo>
                      <a:pt x="1249" y="0"/>
                    </a:lnTo>
                  </a:path>
                </a:pathLst>
              </a:custGeom>
              <a:ln w="12700">
                <a:solidFill>
                  <a:schemeClr val="bg1">
                    <a:lumMod val="65000"/>
                  </a:schemeClr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3226BDDF-1753-4F31-A54E-CE0A8E164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5713" y="3800475"/>
                <a:ext cx="1982787" cy="296863"/>
              </a:xfrm>
              <a:custGeom>
                <a:avLst/>
                <a:gdLst>
                  <a:gd name="T0" fmla="*/ 0 w 1249"/>
                  <a:gd name="T1" fmla="*/ 0 h 187"/>
                  <a:gd name="T2" fmla="*/ 1068387 w 1249"/>
                  <a:gd name="T3" fmla="*/ 296863 h 187"/>
                  <a:gd name="T4" fmla="*/ 1982787 w 1249"/>
                  <a:gd name="T5" fmla="*/ 296863 h 187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249" h="187">
                    <a:moveTo>
                      <a:pt x="0" y="0"/>
                    </a:moveTo>
                    <a:lnTo>
                      <a:pt x="673" y="187"/>
                    </a:lnTo>
                    <a:lnTo>
                      <a:pt x="1249" y="187"/>
                    </a:lnTo>
                  </a:path>
                </a:pathLst>
              </a:custGeom>
              <a:ln w="12700">
                <a:solidFill>
                  <a:schemeClr val="bg1">
                    <a:lumMod val="65000"/>
                  </a:schemeClr>
                </a:solidFill>
                <a:prstDash val="sysDas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" name="Oval 10">
              <a:extLst>
                <a:ext uri="{FF2B5EF4-FFF2-40B4-BE49-F238E27FC236}">
                  <a16:creationId xmlns:a16="http://schemas.microsoft.com/office/drawing/2014/main" id="{8817F27D-EEC8-4BAB-84BF-0D0A1B354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491" y="2646124"/>
              <a:ext cx="87980" cy="8662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16" name="Oval 11">
              <a:extLst>
                <a:ext uri="{FF2B5EF4-FFF2-40B4-BE49-F238E27FC236}">
                  <a16:creationId xmlns:a16="http://schemas.microsoft.com/office/drawing/2014/main" id="{BD5C2D84-C1EE-494B-954A-DA3FC20EB4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3448" y="1694590"/>
              <a:ext cx="86626" cy="906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17" name="Oval 12">
              <a:extLst>
                <a:ext uri="{FF2B5EF4-FFF2-40B4-BE49-F238E27FC236}">
                  <a16:creationId xmlns:a16="http://schemas.microsoft.com/office/drawing/2014/main" id="{4DE3C0B0-5FBE-4C1D-A58E-CE83B02FC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3448" y="2823437"/>
              <a:ext cx="86626" cy="9204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18" name="Oval 13">
              <a:extLst>
                <a:ext uri="{FF2B5EF4-FFF2-40B4-BE49-F238E27FC236}">
                  <a16:creationId xmlns:a16="http://schemas.microsoft.com/office/drawing/2014/main" id="{A5E81190-83D4-4339-A55C-A91F94D59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3448" y="3953637"/>
              <a:ext cx="86626" cy="9068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19" name="Oval 14">
              <a:extLst>
                <a:ext uri="{FF2B5EF4-FFF2-40B4-BE49-F238E27FC236}">
                  <a16:creationId xmlns:a16="http://schemas.microsoft.com/office/drawing/2014/main" id="{232AEC78-D831-47E7-98E8-C8845F23FF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3448" y="5083837"/>
              <a:ext cx="86626" cy="9068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7" name="Oval 15">
              <a:extLst>
                <a:ext uri="{FF2B5EF4-FFF2-40B4-BE49-F238E27FC236}">
                  <a16:creationId xmlns:a16="http://schemas.microsoft.com/office/drawing/2014/main" id="{0FC4F7A7-4CDA-4698-AA4F-7BD4A92E0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825" y="3077901"/>
              <a:ext cx="87979" cy="9068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8" name="Oval 16">
              <a:extLst>
                <a:ext uri="{FF2B5EF4-FFF2-40B4-BE49-F238E27FC236}">
                  <a16:creationId xmlns:a16="http://schemas.microsoft.com/office/drawing/2014/main" id="{FA28169D-21B6-4C39-B633-076F41E43E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825" y="3700526"/>
              <a:ext cx="87979" cy="90687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9" name="Oval 17">
              <a:extLst>
                <a:ext uri="{FF2B5EF4-FFF2-40B4-BE49-F238E27FC236}">
                  <a16:creationId xmlns:a16="http://schemas.microsoft.com/office/drawing/2014/main" id="{F8E24F40-AFE7-4DA4-95B3-CEB65CE26E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491" y="4136364"/>
              <a:ext cx="90687" cy="9068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sp>
        <p:nvSpPr>
          <p:cNvPr id="12" name="Oval 18">
            <a:extLst>
              <a:ext uri="{FF2B5EF4-FFF2-40B4-BE49-F238E27FC236}">
                <a16:creationId xmlns:a16="http://schemas.microsoft.com/office/drawing/2014/main" id="{8620C969-9BD9-4657-93F0-5741EC37E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4142" y="1423313"/>
            <a:ext cx="963716" cy="96371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13" name="Oval 19">
            <a:extLst>
              <a:ext uri="{FF2B5EF4-FFF2-40B4-BE49-F238E27FC236}">
                <a16:creationId xmlns:a16="http://schemas.microsoft.com/office/drawing/2014/main" id="{CB334E7B-B69C-4DF9-AC0D-3191EF308B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4142" y="2553514"/>
            <a:ext cx="963716" cy="96642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id="{D71C48DB-7EA5-4137-924E-28A07FEBD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4142" y="4816621"/>
            <a:ext cx="963716" cy="96371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15" name="Oval 21">
            <a:extLst>
              <a:ext uri="{FF2B5EF4-FFF2-40B4-BE49-F238E27FC236}">
                <a16:creationId xmlns:a16="http://schemas.microsoft.com/office/drawing/2014/main" id="{E060D3F1-6209-4E76-9430-153C7F474D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4142" y="3682360"/>
            <a:ext cx="963716" cy="9677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11" name="Oval 9">
            <a:extLst>
              <a:ext uri="{FF2B5EF4-FFF2-40B4-BE49-F238E27FC236}">
                <a16:creationId xmlns:a16="http://schemas.microsoft.com/office/drawing/2014/main" id="{18752BE1-5C05-4D0E-B873-CFDC1BCED8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078" y="2618483"/>
            <a:ext cx="1951795" cy="1957209"/>
          </a:xfrm>
          <a:prstGeom prst="ellipse">
            <a:avLst/>
          </a:prstGeom>
          <a:gradFill>
            <a:gsLst>
              <a:gs pos="0">
                <a:srgbClr val="EAEAEA"/>
              </a:gs>
              <a:gs pos="100000">
                <a:srgbClr val="FEFFFF"/>
              </a:gs>
            </a:gsLst>
            <a:lin ang="13500000" scaled="1"/>
          </a:gradFill>
          <a:ln w="12700" cmpd="sng">
            <a:noFill/>
            <a:prstDash val="solid"/>
          </a:ln>
          <a:effectLst>
            <a:outerShdw blurRad="317500" dir="2700000" algn="tl" rotWithShape="0">
              <a:prstClr val="black">
                <a:alpha val="6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en-US" sz="120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2AC3192-7B31-4255-824F-ECEFA03A5C61}"/>
              </a:ext>
            </a:extLst>
          </p:cNvPr>
          <p:cNvGrpSpPr/>
          <p:nvPr/>
        </p:nvGrpSpPr>
        <p:grpSpPr>
          <a:xfrm>
            <a:off x="5704529" y="1544853"/>
            <a:ext cx="3980525" cy="720636"/>
            <a:chOff x="4744054" y="1604602"/>
            <a:chExt cx="3980525" cy="72063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B9DBFB7-32EA-4474-A287-3B77255E8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4054" y="1811032"/>
              <a:ext cx="78794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000" b="1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Tahoma" panose="020B0604030504040204" pitchFamily="34" charset="0"/>
                </a:rPr>
                <a:t>01</a:t>
              </a:r>
              <a:endParaRPr kumimoji="0" lang="en-US" sz="11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7FB6F08-0AF4-4032-8A4A-4FBD81E40275}"/>
                </a:ext>
              </a:extLst>
            </p:cNvPr>
            <p:cNvGrpSpPr/>
            <p:nvPr/>
          </p:nvGrpSpPr>
          <p:grpSpPr>
            <a:xfrm>
              <a:off x="5844579" y="1604602"/>
              <a:ext cx="2880000" cy="720636"/>
              <a:chOff x="678122" y="3310632"/>
              <a:chExt cx="2880000" cy="720636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3878D548-BD5E-4877-954F-684FE7E1AA58}"/>
                  </a:ext>
                </a:extLst>
              </p:cNvPr>
              <p:cNvSpPr txBox="1"/>
              <p:nvPr/>
            </p:nvSpPr>
            <p:spPr>
              <a:xfrm>
                <a:off x="678122" y="3310632"/>
                <a:ext cx="2880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3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Insert title here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6A3DCCE-6957-4FD0-B3BA-596E2F81FB48}"/>
                  </a:ext>
                </a:extLst>
              </p:cNvPr>
              <p:cNvSpPr txBox="1"/>
              <p:nvPr/>
            </p:nvSpPr>
            <p:spPr>
              <a:xfrm>
                <a:off x="678122" y="3569603"/>
                <a:ext cx="288000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me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nsectetur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</a:p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dipiscing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eli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roi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cursus ligula.</a:t>
                </a:r>
              </a:p>
            </p:txBody>
          </p:sp>
        </p:grp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6C850760-6055-4145-9303-984AE3A6FE8D}"/>
              </a:ext>
            </a:extLst>
          </p:cNvPr>
          <p:cNvSpPr txBox="1"/>
          <p:nvPr/>
        </p:nvSpPr>
        <p:spPr>
          <a:xfrm>
            <a:off x="1991491" y="3273922"/>
            <a:ext cx="137097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3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ert text he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C8F906C-846F-4D8F-8A95-D863B3B17EAD}"/>
              </a:ext>
            </a:extLst>
          </p:cNvPr>
          <p:cNvGrpSpPr/>
          <p:nvPr/>
        </p:nvGrpSpPr>
        <p:grpSpPr>
          <a:xfrm>
            <a:off x="5704529" y="2675956"/>
            <a:ext cx="3980525" cy="720636"/>
            <a:chOff x="4744054" y="1604602"/>
            <a:chExt cx="3980525" cy="720636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1DD69AC-52B2-482D-8D97-E242BE0554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4054" y="1811032"/>
              <a:ext cx="78794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000" b="1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Tahoma" panose="020B0604030504040204" pitchFamily="34" charset="0"/>
                </a:rPr>
                <a:t>02</a:t>
              </a:r>
              <a:endParaRPr kumimoji="0" lang="en-US" sz="11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F99919E-7AE6-4FC5-BEB9-E54E4AFB01BF}"/>
                </a:ext>
              </a:extLst>
            </p:cNvPr>
            <p:cNvGrpSpPr/>
            <p:nvPr/>
          </p:nvGrpSpPr>
          <p:grpSpPr>
            <a:xfrm>
              <a:off x="5844579" y="1604602"/>
              <a:ext cx="2880000" cy="720636"/>
              <a:chOff x="678122" y="3310632"/>
              <a:chExt cx="2880000" cy="720636"/>
            </a:xfrm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7F03D34-7266-45AF-A2AF-5828F5D87306}"/>
                  </a:ext>
                </a:extLst>
              </p:cNvPr>
              <p:cNvSpPr txBox="1"/>
              <p:nvPr/>
            </p:nvSpPr>
            <p:spPr>
              <a:xfrm>
                <a:off x="678122" y="3310632"/>
                <a:ext cx="2880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3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Insert title here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9629B08-761B-4D3D-8453-87D6E5DC0116}"/>
                  </a:ext>
                </a:extLst>
              </p:cNvPr>
              <p:cNvSpPr txBox="1"/>
              <p:nvPr/>
            </p:nvSpPr>
            <p:spPr>
              <a:xfrm>
                <a:off x="678122" y="3569603"/>
                <a:ext cx="288000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me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nsectetur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</a:p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dipiscing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eli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roi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cursus ligula.</a:t>
                </a: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6E88202-B7A4-41C1-82A5-08F5C80F5833}"/>
              </a:ext>
            </a:extLst>
          </p:cNvPr>
          <p:cNvGrpSpPr/>
          <p:nvPr/>
        </p:nvGrpSpPr>
        <p:grpSpPr>
          <a:xfrm>
            <a:off x="5704529" y="3807059"/>
            <a:ext cx="3980525" cy="720636"/>
            <a:chOff x="4744054" y="1604602"/>
            <a:chExt cx="3980525" cy="720636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AA3380D-D890-4803-83E9-B647835D2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4054" y="1811032"/>
              <a:ext cx="78794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000" b="1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Tahoma" panose="020B0604030504040204" pitchFamily="34" charset="0"/>
                </a:rPr>
                <a:t>03</a:t>
              </a:r>
              <a:endParaRPr kumimoji="0" lang="en-US" sz="11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3813F61-D92C-45DD-A7C5-A94086CAE393}"/>
                </a:ext>
              </a:extLst>
            </p:cNvPr>
            <p:cNvGrpSpPr/>
            <p:nvPr/>
          </p:nvGrpSpPr>
          <p:grpSpPr>
            <a:xfrm>
              <a:off x="5844579" y="1604602"/>
              <a:ext cx="2880000" cy="720636"/>
              <a:chOff x="678122" y="3310632"/>
              <a:chExt cx="2880000" cy="720636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21751AF7-8FD5-4589-9D69-B19ECF15E029}"/>
                  </a:ext>
                </a:extLst>
              </p:cNvPr>
              <p:cNvSpPr txBox="1"/>
              <p:nvPr/>
            </p:nvSpPr>
            <p:spPr>
              <a:xfrm>
                <a:off x="678122" y="3310632"/>
                <a:ext cx="2880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3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Insert title here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B89E3AB-DBDA-4F4A-9B81-18DD5A06D3FE}"/>
                  </a:ext>
                </a:extLst>
              </p:cNvPr>
              <p:cNvSpPr txBox="1"/>
              <p:nvPr/>
            </p:nvSpPr>
            <p:spPr>
              <a:xfrm>
                <a:off x="678122" y="3569603"/>
                <a:ext cx="288000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me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nsectetur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</a:p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dipiscing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eli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roi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cursus ligula.</a:t>
                </a:r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6BC8EB8-5898-40B1-8486-F6AA3A03FC85}"/>
              </a:ext>
            </a:extLst>
          </p:cNvPr>
          <p:cNvGrpSpPr/>
          <p:nvPr/>
        </p:nvGrpSpPr>
        <p:grpSpPr>
          <a:xfrm>
            <a:off x="5704529" y="4938161"/>
            <a:ext cx="3980525" cy="720636"/>
            <a:chOff x="4744054" y="1604602"/>
            <a:chExt cx="3980525" cy="720636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C3E2952-3E49-44C4-9BA8-08E51CB5BB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4054" y="1811032"/>
              <a:ext cx="78794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000" b="1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Tahoma" panose="020B0604030504040204" pitchFamily="34" charset="0"/>
                </a:rPr>
                <a:t>04</a:t>
              </a:r>
              <a:endParaRPr kumimoji="0" lang="en-US" sz="1100" b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Tahoma" panose="020B0604030504040204" pitchFamily="34" charset="0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6D990E6-5977-4F8D-986A-2098CED1D8BC}"/>
                </a:ext>
              </a:extLst>
            </p:cNvPr>
            <p:cNvGrpSpPr/>
            <p:nvPr/>
          </p:nvGrpSpPr>
          <p:grpSpPr>
            <a:xfrm>
              <a:off x="5844579" y="1604602"/>
              <a:ext cx="2880000" cy="720636"/>
              <a:chOff x="678122" y="3310632"/>
              <a:chExt cx="2880000" cy="720636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01219BF3-536A-494E-9343-7AB2D6BFF24A}"/>
                  </a:ext>
                </a:extLst>
              </p:cNvPr>
              <p:cNvSpPr txBox="1"/>
              <p:nvPr/>
            </p:nvSpPr>
            <p:spPr>
              <a:xfrm>
                <a:off x="678122" y="3310632"/>
                <a:ext cx="28800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3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Insert title here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8CCF3BB-867A-4189-97D7-3BB0CCEADEC5}"/>
                  </a:ext>
                </a:extLst>
              </p:cNvPr>
              <p:cNvSpPr txBox="1"/>
              <p:nvPr/>
            </p:nvSpPr>
            <p:spPr>
              <a:xfrm>
                <a:off x="678122" y="3569603"/>
                <a:ext cx="288000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Lorem ipsum dolor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me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,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consectetur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</a:p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adipiscing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elit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roi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60000"/>
                        <a:lumOff val="40000"/>
                      </a:scheme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 cursus ligula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5009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  <wetp:taskpane dockstate="right" visibility="0" width="350" row="2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21DC2DC5-8D14-4A5B-B73F-CF38CECC781E}">
  <we:reference id="wa200003052" version="1.0.0.0" store="en-US" storeType="OMEX"/>
  <we:alternateReferences>
    <we:reference id="WA200003052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2176</TotalTime>
  <Words>70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633</cp:revision>
  <dcterms:created xsi:type="dcterms:W3CDTF">2020-11-27T23:09:27Z</dcterms:created>
  <dcterms:modified xsi:type="dcterms:W3CDTF">2022-01-20T11:1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